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84" r:id="rId5"/>
  </p:sldMasterIdLst>
  <p:notesMasterIdLst>
    <p:notesMasterId r:id="rId14"/>
  </p:notesMasterIdLst>
  <p:sldIdLst>
    <p:sldId id="256" r:id="rId6"/>
    <p:sldId id="348" r:id="rId7"/>
    <p:sldId id="349" r:id="rId8"/>
    <p:sldId id="351" r:id="rId9"/>
    <p:sldId id="350" r:id="rId10"/>
    <p:sldId id="352" r:id="rId11"/>
    <p:sldId id="353" r:id="rId12"/>
    <p:sldId id="317" r:id="rId13"/>
  </p:sldIdLst>
  <p:sldSz cx="12192000" cy="6858000"/>
  <p:notesSz cx="7104063" cy="102346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E5D0148-7748-4BE5-92D7-B44B4048679A}" v="3" dt="2023-02-20T16:36:37.47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2029" autoAdjust="0"/>
  </p:normalViewPr>
  <p:slideViewPr>
    <p:cSldViewPr snapToGrid="0">
      <p:cViewPr varScale="1">
        <p:scale>
          <a:sx n="98" d="100"/>
          <a:sy n="98" d="100"/>
        </p:scale>
        <p:origin x="110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9378A75F-2924-419E-A2B9-0B6F81294D43}" type="datetimeFigureOut">
              <a:rPr lang="zh-CN" altLang="en-US" smtClean="0"/>
              <a:t>2023/7/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8863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245FDEC2-DF3E-4D08-A694-69CAF3C428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1074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2600" y="1279525"/>
            <a:ext cx="6138863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5FDEC2-DF3E-4D08-A694-69CAF3C42812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42845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9F0A-9DE2-44AB-9A84-CC28BAF7B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63192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9F0A-9DE2-44AB-9A84-CC28BAF7B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51103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9F0A-9DE2-44AB-9A84-CC28BAF7B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13584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67443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22898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66932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0983B20-CF3E-4EB7-8ABD-887696F49A4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758628-A8B7-4C0C-9D76-AB8C3683620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93D0D8-808F-4B9D-9E74-3D2864287D2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02041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4000">
                <a:srgbClr val="1D7790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8778D-8BC8-464B-A800-1D1791A3726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260CBB-BBBF-4BD2-A2B2-E16FB43BCE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9F131B-2B68-425B-8FFF-8D359E0D5D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586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974270"/>
            <a:ext cx="5916612" cy="3010605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64FAF97-8E98-4493-977E-6FEDC5291BD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90CB561-9F99-4288-90CE-88D602D52C2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596121-908B-4B59-963A-E95F7A86847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3921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26C9846-D78A-41C2-B9DE-AAB4647AB0B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8AD9C8-2824-4897-945F-4A8A1D2456E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1209F8-6861-41DE-A5C0-5C8F5AB393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24165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719AE-30B8-45EA-B80C-409CF4F2B2F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3BC588A-DC32-4D84-AD10-E7DF3D9A9C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CB5C3E-E47D-427A-AA11-CB39E0BAF2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0246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3148592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A4204C2-4248-49B0-B888-AEDE5C87E88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0296C33-84D5-4891-A511-A73F2EF90E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DE090B-8EDC-46F6-A07B-49E25523BDD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16718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7C751A8B-7DD1-4C74-A6D8-AE2E6694A0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71DDCE-8584-473E-89A6-4E1C8FE4FEF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F76422-6FC9-4F77-8DC2-9370AFAFE86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BBD116-D531-4394-B940-E1E0CD4B016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24856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5C68886-21F8-4FFB-8201-7F0BA6565D6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BD0276-DAC0-4256-A958-3D3DD10E63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696E82-453E-4196-8BCD-BF982D264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1889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88388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CA94CF4-7D7D-4A16-808E-9BB3F11A797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E6BEEC3F-C136-4E04-8E02-6DF963A6E721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86A8951A-7642-4D31-B686-A714C8CCF5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DE5828C-86B5-43E8-99E0-320BB3D4C7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9290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30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2179119F-C342-4DBA-9211-F4375B7FF2D1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E2CAD830-41D2-49E6-9A6C-8B30840C61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1C2822D-ACBC-46C4-BC5F-37D1A4BC04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8299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2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622533"/>
          </a:xfrm>
          <a:gradFill flip="none" rotWithShape="1">
            <a:gsLst>
              <a:gs pos="34000">
                <a:srgbClr val="1C768F">
                  <a:alpha val="94902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0"/>
              </a:spcAft>
              <a:defRPr sz="28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überschrift, Frutiger </a:t>
            </a:r>
            <a:r>
              <a:rPr lang="de-DE" dirty="0" err="1"/>
              <a:t>Bold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dirty="0" err="1"/>
              <a:t>Com</a:t>
            </a:r>
            <a:r>
              <a:rPr lang="de-DE" dirty="0"/>
              <a:t> Light 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57475347-60C7-4275-87BB-E0A043A5396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FC469E6C-F598-4F80-AB6C-46A0783E2A2E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262368A1-9617-47E7-A038-2429D81091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7CAF98EC-E908-46DA-A386-F0D4232D418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171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1F8DCC3F-E343-4E3F-B16A-B6051F15F1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0015" b="18610"/>
          <a:stretch/>
        </p:blipFill>
        <p:spPr>
          <a:xfrm>
            <a:off x="0" y="1"/>
            <a:ext cx="12192000" cy="6151957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657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F75AC2F-D644-43D9-B982-47D14AE50663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BE4F662B-8B67-467B-B579-81B65A21735B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09CF1CB-7C21-4B1B-8641-DD8AC9A83C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0AB71B0-9D5B-4CFF-97F3-7D9E421F2D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30772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824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0EB8D40A-176A-4C73-94E8-E4F599039B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158116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78088260-380C-400E-94F1-80576C9596AC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4113842-5E3F-4997-8349-B76EB457E5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428535-A26E-4A75-A2D0-95960DB6BCF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46172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16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84AC2951-09AD-4688-B783-DAE1ADDED63E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54083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00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79225054-8F4D-4B67-8803-E473E83FD8A6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96409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8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862B3568-9F39-45BA-8ABC-B5488CC74074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85177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244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0047F9E9-11D7-474D-A6DA-3492ADD97332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88637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80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1B09DD79-ED55-4B70-88EA-06391A367C88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F46C379-14E1-4C3E-81B3-2514BD91D6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983DEDE-C1BC-4CFF-B990-BF9CE174A5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05848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29436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65A82B2D-840F-4167-AD44-C02BC9C87CCB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507316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29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9631443C-B870-41CA-8630-426F79C7DA41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78148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888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2640595"/>
          </a:xfrm>
        </p:spPr>
        <p:txBody>
          <a:bodyPr numCol="1" spcCol="360000"/>
          <a:lstStyle>
            <a:lvl5pPr>
              <a:defRPr/>
            </a:lvl5pPr>
            <a:lvl8pPr>
              <a:buAutoNum type="arabicPeriod"/>
              <a:defRPr/>
            </a:lvl8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A80A6E1-2019-439E-8E86-0046D913F8D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ED9D36A6-A034-4164-BBE1-F8AE84912B9F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3CF5D9C-18A9-4FD1-BF61-90B1DF40DA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C7C1689-11E8-41AB-9458-DE44740E23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9AB49C-1F4E-4EF1-AAF8-5D9B08CE0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979DCD-35B3-46F6-8E1A-F75179508D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437187" cy="2640595"/>
          </a:xfrm>
        </p:spPr>
        <p:txBody>
          <a:bodyPr numCol="1"/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04194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174C6A4-3B89-4478-A08C-B54D082B38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3085204"/>
          </a:xfrm>
        </p:spPr>
        <p:txBody>
          <a:bodyPr numCol="1" spcCol="360000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buAutoNum type="arabicPeriod"/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6BBE7333-2DF4-417D-84A6-4C1EC6024486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B913C0-DAEC-4E03-BE28-C93BE7F20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DDDE3BD-D7C5-4F7F-8E5F-2F194BD44F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516562" cy="3020314"/>
          </a:xfrm>
        </p:spPr>
        <p:txBody>
          <a:bodyPr numCol="1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41319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2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D4E2D0BE-C1C0-4F7D-8CA3-1AB441DBDBE6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4293628-7C4E-4B40-9C44-4455388844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2CBCEFF-ED55-43F4-840E-11635FF54F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5288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8C3B39-287A-4DC2-86D1-47762D2F8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36F7860-0DEC-4D26-A4CA-9345FD189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5854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A5AD49B5-73A6-4C2A-8588-DD0F894360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0015" b="18624"/>
          <a:stretch/>
        </p:blipFill>
        <p:spPr>
          <a:xfrm>
            <a:off x="0" y="2"/>
            <a:ext cx="12192000" cy="6150768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1388048" y="6455836"/>
            <a:ext cx="720000" cy="123111"/>
          </a:xfrm>
          <a:prstGeom prst="rect">
            <a:avLst/>
          </a:prstGeom>
        </p:spPr>
        <p:txBody>
          <a:bodyPr/>
          <a:lstStyle/>
          <a:p>
            <a:fld id="{9DE324B6-D7C2-429F-9563-54E4F47990AC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297897" y="64558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© Fraunhofer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74004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09F1F2-5AE7-4500-87D3-FAD916B3136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9D760A-5328-4251-ACFF-CB470EE3471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FC189F-C42A-4071-BC47-28A29172D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64311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D3F48CE-72D6-4312-9E4E-63E50B50038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83046E-333C-49E5-BC21-4B96362580A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6BEE77-0380-4FD0-A81C-71B6A50C651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17641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197DE11-A966-449E-A5FD-31979AF34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167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 dirty="0"/>
              <a:t>Straße XY</a:t>
            </a:r>
          </a:p>
          <a:p>
            <a:pPr lvl="3"/>
            <a:r>
              <a:rPr lang="pt-BR" dirty="0"/>
              <a:t>12345 Stadt</a:t>
            </a:r>
          </a:p>
          <a:p>
            <a:pPr lvl="3"/>
            <a:r>
              <a:rPr lang="pt-BR" dirty="0"/>
              <a:t>www.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A313C52-2525-4A5D-916B-98841273CAD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219F9CA-C990-4FAF-BBA2-C37D042E4FF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B3BB0E-EF1D-44E5-9391-ED9E79F83DB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04047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648310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14564-45F3-43F4-A781-81B474E1C1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  <a:prstGeom prst="rect">
            <a:avLst/>
          </a:prstGeom>
        </p:spPr>
        <p:txBody>
          <a:bodyPr/>
          <a:lstStyle/>
          <a:p>
            <a:fld id="{18404E2F-0DC3-491D-BBFF-E567024868D0}" type="datetime1">
              <a:rPr lang="de-DE" noProof="0" smtClean="0"/>
              <a:t>04.07.2023</a:t>
            </a:fld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B5AC9A-7737-4C1C-B583-AD4EA4DAE9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© Fraunhofer</a:t>
            </a:r>
            <a:endParaRPr lang="de-DE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919D1C-ADAC-4933-80BD-01165FF9D2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  <a:prstGeom prst="rect">
            <a:avLst/>
          </a:prstGeom>
        </p:spPr>
        <p:txBody>
          <a:bodyPr/>
          <a:lstStyle/>
          <a:p>
            <a:r>
              <a:rPr lang="de-DE" noProof="0" dirty="0"/>
              <a:t>Seit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8781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4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73258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65819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4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35011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82738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7/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6724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theme" Target="../theme/theme2.xml"/><Relationship Id="rId8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24E67A-AF0E-4819-AC53-2E46C7DFBD72}" type="datetimeFigureOut">
              <a:rPr lang="zh-CN" altLang="en-US" smtClean="0"/>
              <a:t>2023/7/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19787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2" imgW="344" imgH="345" progId="TCLayout.ActiveDocument.1">
                  <p:embed/>
                </p:oleObj>
              </mc:Choice>
              <mc:Fallback>
                <p:oleObj name="think-cell Folie" r:id="rId32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noProof="0" dirty="0"/>
              <a:t>Page</a:t>
            </a:r>
            <a:r>
              <a:rPr lang="en-US" dirty="0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LogoFusszeile">
            <a:extLst>
              <a:ext uri="{FF2B5EF4-FFF2-40B4-BE49-F238E27FC236}">
                <a16:creationId xmlns:a16="http://schemas.microsoft.com/office/drawing/2014/main" id="{A1A14973-0D19-4698-859C-851A93B6A59A}"/>
              </a:ext>
            </a:extLst>
          </p:cNvPr>
          <p:cNvSpPr/>
          <p:nvPr userDrawn="1"/>
        </p:nvSpPr>
        <p:spPr>
          <a:xfrm>
            <a:off x="10309226" y="6334126"/>
            <a:ext cx="1404000" cy="37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051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1" r:id="rId27"/>
    <p:sldLayoutId id="2147483712" r:id="rId28"/>
    <p:sldLayoutId id="2147483713" r:id="rId2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eva.weicken@hhi.fraunhofer.d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31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32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Relationship Id="rId9" Type="http://schemas.openxmlformats.org/officeDocument/2006/relationships/hyperlink" Target="https://extranet.itu.int/sites/itu-t/focusgroups/ai4h/docs/FGAI4H-Q-105.docx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33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34.xml"/><Relationship Id="rId6" Type="http://schemas.openxmlformats.org/officeDocument/2006/relationships/image" Target="../media/image9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35.xml"/><Relationship Id="rId6" Type="http://schemas.openxmlformats.org/officeDocument/2006/relationships/image" Target="../media/image10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mailto:eva.weicken@hhi.fraunhofer.de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>
            <a:extLst>
              <a:ext uri="{FF2B5EF4-FFF2-40B4-BE49-F238E27FC236}">
                <a16:creationId xmlns:a16="http://schemas.microsoft.com/office/drawing/2014/main" id="{8C7CA0D1-8B49-4675-8A5E-57C7F64475C1}"/>
              </a:ext>
            </a:extLst>
          </p:cNvPr>
          <p:cNvSpPr/>
          <p:nvPr/>
        </p:nvSpPr>
        <p:spPr>
          <a:xfrm>
            <a:off x="9267065" y="845674"/>
            <a:ext cx="15006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GB" b="1" dirty="0"/>
              <a:t>FGAI4H-S-049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36F58C8-2F54-4864-94DC-A069EA8D2640}"/>
              </a:ext>
            </a:extLst>
          </p:cNvPr>
          <p:cNvSpPr/>
          <p:nvPr/>
        </p:nvSpPr>
        <p:spPr>
          <a:xfrm>
            <a:off x="8532568" y="1215006"/>
            <a:ext cx="22351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dirty="0"/>
              <a:t>Geneva, 3-5 July 2023</a:t>
            </a:r>
          </a:p>
        </p:txBody>
      </p:sp>
      <p:graphicFrame>
        <p:nvGraphicFramePr>
          <p:cNvPr id="14" name="Table 2">
            <a:extLst>
              <a:ext uri="{FF2B5EF4-FFF2-40B4-BE49-F238E27FC236}">
                <a16:creationId xmlns:a16="http://schemas.microsoft.com/office/drawing/2014/main" id="{F23ADA95-2EB2-45F5-AA21-8B52FA9A9E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7944983"/>
              </p:ext>
            </p:extLst>
          </p:nvPr>
        </p:nvGraphicFramePr>
        <p:xfrm>
          <a:off x="1424267" y="3274055"/>
          <a:ext cx="9343465" cy="17145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97379">
                  <a:extLst>
                    <a:ext uri="{9D8B030D-6E8A-4147-A177-3AD203B41FA5}">
                      <a16:colId xmlns:a16="http://schemas.microsoft.com/office/drawing/2014/main" val="3760236376"/>
                    </a:ext>
                  </a:extLst>
                </a:gridCol>
                <a:gridCol w="3866469">
                  <a:extLst>
                    <a:ext uri="{9D8B030D-6E8A-4147-A177-3AD203B41FA5}">
                      <a16:colId xmlns:a16="http://schemas.microsoft.com/office/drawing/2014/main" val="4118390399"/>
                    </a:ext>
                  </a:extLst>
                </a:gridCol>
                <a:gridCol w="3979617">
                  <a:extLst>
                    <a:ext uri="{9D8B030D-6E8A-4147-A177-3AD203B41FA5}">
                      <a16:colId xmlns:a16="http://schemas.microsoft.com/office/drawing/2014/main" val="3689152469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Source:</a:t>
                      </a:r>
                      <a:endParaRPr lang="en-GB" sz="1800" b="1" dirty="0"/>
                    </a:p>
                  </a:txBody>
                  <a:tcPr marL="68580" marR="68580" marT="34290" marB="34290"/>
                </a:tc>
                <a:tc gridSpan="2"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ditor</a:t>
                      </a:r>
                      <a:endParaRPr lang="en-GB" sz="1800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043626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Title:</a:t>
                      </a:r>
                      <a:endParaRPr lang="en-GB" sz="1800" b="1" dirty="0"/>
                    </a:p>
                  </a:txBody>
                  <a:tcPr marL="68580" marR="68580" marT="34290" marB="3429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10 Update: AI4H use cases: Topic Description Documents</a:t>
                      </a:r>
                      <a:endParaRPr lang="en-GB" sz="1800" dirty="0"/>
                    </a:p>
                  </a:txBody>
                  <a:tcPr marL="68580" marR="68580" marT="34290" marB="3429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46812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Contact:</a:t>
                      </a:r>
                      <a:endParaRPr lang="en-GB" sz="1800" b="1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Eva Weicken</a:t>
                      </a:r>
                      <a:endParaRPr lang="en-GB" sz="1800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E-mail: </a:t>
                      </a:r>
                      <a:r>
                        <a:rPr lang="en-GB" sz="1800" kern="1200" dirty="0">
                          <a:solidFill>
                            <a:schemeClr val="tx1"/>
                          </a:solidFill>
                          <a:effectLst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eva.weicken@hhi.fraunhofer.de</a:t>
                      </a:r>
                      <a:r>
                        <a:rPr lang="en-GB" sz="1800" kern="1200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endParaRPr lang="en-GB" sz="1800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874149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Abstract:</a:t>
                      </a:r>
                      <a:endParaRPr lang="en-GB" sz="1800" b="1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This PPT contains a presentation of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an introduction to the topic groups</a:t>
                      </a:r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79474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39349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9F79856-5C31-46CF-811F-5923CFCCD6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3482101"/>
            <a:ext cx="11712575" cy="2502774"/>
          </a:xfrm>
        </p:spPr>
        <p:txBody>
          <a:bodyPr/>
          <a:lstStyle/>
          <a:p>
            <a:r>
              <a:rPr lang="de-DE" sz="1600" dirty="0">
                <a:solidFill>
                  <a:prstClr val="white"/>
                </a:solidFill>
                <a:latin typeface="Frutiger LT Com 65 Bold"/>
              </a:rPr>
              <a:t>ITU/WHO FG-AI4H Deliverable 10.0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>
                <a:solidFill>
                  <a:prstClr val="white"/>
                </a:solidFill>
                <a:latin typeface="Frutiger LT Com 45 Light"/>
              </a:rPr>
              <a:t>Update AI4H use cases: Topic Description Documents </a:t>
            </a:r>
            <a:endParaRPr lang="de-DE" dirty="0"/>
          </a:p>
          <a:p>
            <a:pPr lvl="3"/>
            <a:r>
              <a:rPr lang="de-DE" dirty="0"/>
              <a:t>Eva Weicken, 4 July </a:t>
            </a:r>
            <a:r>
              <a:rPr lang="de-DE" i="1" dirty="0"/>
              <a:t>2023, ITU HQ, Geneva, Switzerland</a:t>
            </a:r>
          </a:p>
        </p:txBody>
      </p:sp>
      <p:pic>
        <p:nvPicPr>
          <p:cNvPr id="2" name="Picture 6">
            <a:extLst>
              <a:ext uri="{FF2B5EF4-FFF2-40B4-BE49-F238E27FC236}">
                <a16:creationId xmlns:a16="http://schemas.microsoft.com/office/drawing/2014/main" id="{1D83F325-305C-1E18-B9A8-4702EC5F08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069" y="259200"/>
            <a:ext cx="2349501" cy="4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49162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pPr lvl="0"/>
            <a:r>
              <a:rPr lang="de-DE" dirty="0"/>
              <a:t>24 topic groups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6BC8F31-A681-46B9-8DB4-0776C0D98F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/>
              <a:t>July 2023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EADCF5-46AF-4D67-973F-361C8A6B44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69555" y="4282756"/>
            <a:ext cx="11233150" cy="2179956"/>
          </a:xfrm>
        </p:spPr>
        <p:txBody>
          <a:bodyPr/>
          <a:lstStyle/>
          <a:p>
            <a:r>
              <a:rPr lang="en-US" dirty="0">
                <a:solidFill>
                  <a:schemeClr val="accent2"/>
                </a:solidFill>
              </a:rPr>
              <a:t>Variety of health use cases in the context of AI</a:t>
            </a:r>
          </a:p>
          <a:p>
            <a:pPr marL="285750" lvl="1" indent="-285750">
              <a:buFont typeface="Wingdings" pitchFamily="2" charset="2"/>
              <a:buChar char="§"/>
            </a:pPr>
            <a:r>
              <a:rPr lang="en-US" dirty="0"/>
              <a:t>Producing evidence and case studies</a:t>
            </a:r>
          </a:p>
          <a:p>
            <a:pPr marL="285750" lvl="1" indent="-285750">
              <a:buFont typeface="Wingdings" pitchFamily="2" charset="2"/>
              <a:buChar char="§"/>
            </a:pPr>
            <a:r>
              <a:rPr lang="en-US" dirty="0"/>
              <a:t>Propose harmonized procedures to benchmark AI models</a:t>
            </a:r>
          </a:p>
          <a:p>
            <a:pPr marL="285750" lvl="1" indent="-285750">
              <a:buFont typeface="Wingdings" pitchFamily="2" charset="2"/>
              <a:buChar char="§"/>
            </a:pPr>
            <a:r>
              <a:rPr lang="en-US" dirty="0"/>
              <a:t>Combine experts &amp; data from various partners</a:t>
            </a:r>
          </a:p>
          <a:p>
            <a:pPr marL="285750" lvl="1" indent="-285750">
              <a:buFont typeface="Wingdings" pitchFamily="2" charset="2"/>
              <a:buChar char="§"/>
            </a:pPr>
            <a:endParaRPr lang="en-US" dirty="0"/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8B502DCF-743B-6F8D-B5A9-A9A490336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069" y="259200"/>
            <a:ext cx="2349501" cy="4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nhaltsplatzhalter 11">
            <a:extLst>
              <a:ext uri="{FF2B5EF4-FFF2-40B4-BE49-F238E27FC236}">
                <a16:creationId xmlns:a16="http://schemas.microsoft.com/office/drawing/2014/main" id="{BADEDCAD-E609-E30B-7810-0998B51E9B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69555" y="1259160"/>
            <a:ext cx="7927410" cy="3023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8370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pPr lvl="0"/>
            <a:r>
              <a:rPr lang="de-DE" dirty="0"/>
              <a:t>Topic groups </a:t>
            </a:r>
            <a:r>
              <a:rPr lang="de-DE" dirty="0" err="1"/>
              <a:t>organization</a:t>
            </a:r>
            <a:r>
              <a:rPr lang="de-DE" dirty="0"/>
              <a:t> &amp; </a:t>
            </a:r>
            <a:r>
              <a:rPr lang="de-DE" dirty="0" err="1"/>
              <a:t>output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6BC8F31-A681-46B9-8DB4-0776C0D98F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/>
              <a:t>Topic description documents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EADCF5-46AF-4D67-973F-361C8A6B44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4079788"/>
            <a:ext cx="11233150" cy="1665456"/>
          </a:xfrm>
        </p:spPr>
        <p:txBody>
          <a:bodyPr/>
          <a:lstStyle/>
          <a:p>
            <a:pPr marL="285750" lvl="1" indent="-285750">
              <a:buFont typeface="Wingdings" pitchFamily="2" charset="2"/>
              <a:buChar char="§"/>
            </a:pPr>
            <a:r>
              <a:rPr lang="en-US" dirty="0"/>
              <a:t>Topic groups (TGs) create output documentation, topic driver coordinate work</a:t>
            </a:r>
          </a:p>
          <a:p>
            <a:pPr marL="285750" lvl="1" indent="-285750">
              <a:buFont typeface="Wingdings" pitchFamily="2" charset="2"/>
              <a:buChar char="§"/>
            </a:pPr>
            <a:r>
              <a:rPr lang="en-US" dirty="0"/>
              <a:t>Sections on the ethical, technical, clinical, regulatory requirements for the benchmarking </a:t>
            </a:r>
          </a:p>
          <a:p>
            <a:pPr marL="285750" lvl="1" indent="-285750">
              <a:buFont typeface="Wingdings" pitchFamily="2" charset="2"/>
              <a:buChar char="§"/>
            </a:pPr>
            <a:r>
              <a:rPr lang="en-US" dirty="0"/>
              <a:t>Categories: Background, features, operations, considerations </a:t>
            </a:r>
          </a:p>
          <a:p>
            <a:pPr marL="285750" lvl="1" indent="-285750">
              <a:buFont typeface="Wingdings" pitchFamily="2" charset="2"/>
              <a:buChar char="§"/>
            </a:pPr>
            <a:endParaRPr lang="en-US" dirty="0"/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8B502DCF-743B-6F8D-B5A9-A9A490336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069" y="259200"/>
            <a:ext cx="2349501" cy="4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nhaltsplatzhalter 11">
            <a:extLst>
              <a:ext uri="{FF2B5EF4-FFF2-40B4-BE49-F238E27FC236}">
                <a16:creationId xmlns:a16="http://schemas.microsoft.com/office/drawing/2014/main" id="{BADEDCAD-E609-E30B-7810-0998B51E9B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50985" y="1830380"/>
            <a:ext cx="4549140" cy="1735089"/>
          </a:xfrm>
          <a:prstGeom prst="rect">
            <a:avLst/>
          </a:prstGeom>
        </p:spPr>
      </p:pic>
      <p:sp>
        <p:nvSpPr>
          <p:cNvPr id="3" name="Pfeil nach rechts 2">
            <a:extLst>
              <a:ext uri="{FF2B5EF4-FFF2-40B4-BE49-F238E27FC236}">
                <a16:creationId xmlns:a16="http://schemas.microsoft.com/office/drawing/2014/main" id="{407B331F-2897-EC64-221F-0A5092B08C17}"/>
              </a:ext>
            </a:extLst>
          </p:cNvPr>
          <p:cNvSpPr/>
          <p:nvPr/>
        </p:nvSpPr>
        <p:spPr>
          <a:xfrm>
            <a:off x="6094774" y="2436140"/>
            <a:ext cx="1262466" cy="523570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pic>
        <p:nvPicPr>
          <p:cNvPr id="9" name="Picture 7" descr="Text&#10;&#10;Description automatically generated">
            <a:extLst>
              <a:ext uri="{FF2B5EF4-FFF2-40B4-BE49-F238E27FC236}">
                <a16:creationId xmlns:a16="http://schemas.microsoft.com/office/drawing/2014/main" id="{F0FFC241-C272-0002-54A6-9BCB1DAAED5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14998" y="1112756"/>
            <a:ext cx="3211552" cy="455860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2235A6F9-D938-65AB-97DC-D5C2A6B4E37A}"/>
              </a:ext>
            </a:extLst>
          </p:cNvPr>
          <p:cNvSpPr txBox="1"/>
          <p:nvPr/>
        </p:nvSpPr>
        <p:spPr>
          <a:xfrm>
            <a:off x="10985863" y="5237413"/>
            <a:ext cx="120613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 panose="020B0604020202020204" pitchFamily="34" charset="0"/>
              </a:rPr>
              <a:t>Topic description docu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 panose="020B0604020202020204" pitchFamily="34" charset="0"/>
              </a:rPr>
              <a:t>template</a:t>
            </a: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 panose="020B0604020202020204" pitchFamily="34" charset="0"/>
              </a:rPr>
              <a:t> </a:t>
            </a: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5B7F"/>
                </a:solidFill>
                <a:effectLst/>
                <a:uLnTx/>
                <a:uFillTx/>
                <a:latin typeface="Frutiger LT Com 45 Light"/>
                <a:ea typeface="+mn-ea"/>
                <a:cs typeface="Arial" panose="020B0604020202020204" pitchFamily="34" charset="0"/>
              </a:rPr>
              <a:t>(</a:t>
            </a: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179C7D"/>
                </a:solidFill>
                <a:effectLst/>
                <a:uLnTx/>
                <a:uFillTx/>
                <a:latin typeface="Frutiger LT Com 45 Light"/>
                <a:ea typeface="+mn-ea"/>
                <a:cs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Q-</a:t>
            </a: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8598"/>
                </a:solidFill>
                <a:effectLst/>
                <a:uLnTx/>
                <a:uFillTx/>
                <a:latin typeface="Frutiger LT Com 45 Light"/>
                <a:ea typeface="+mn-ea"/>
                <a:cs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05</a:t>
            </a: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 panose="020B0604020202020204" pitchFamily="34" charset="0"/>
              </a:rPr>
              <a:t>) </a:t>
            </a:r>
          </a:p>
        </p:txBody>
      </p:sp>
    </p:spTree>
    <p:extLst>
      <p:ext uri="{BB962C8B-B14F-4D97-AF65-F5344CB8AC3E}">
        <p14:creationId xmlns:p14="http://schemas.microsoft.com/office/powerpoint/2010/main" val="35830308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pPr lvl="0"/>
            <a:r>
              <a:rPr lang="de-DE" dirty="0"/>
              <a:t>Topic groups x working groups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6BC8F31-A681-46B9-8DB4-0776C0D98F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trix structure</a:t>
            </a:r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EADCF5-46AF-4D67-973F-361C8A6B44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917868"/>
            <a:ext cx="4915535" cy="3125664"/>
          </a:xfrm>
        </p:spPr>
        <p:txBody>
          <a:bodyPr/>
          <a:lstStyle/>
          <a:p>
            <a:r>
              <a:rPr lang="en-US" dirty="0">
                <a:solidFill>
                  <a:schemeClr val="accent2"/>
                </a:solidFill>
              </a:rPr>
              <a:t>Working Groups (WG)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+mn-lt"/>
              </a:rPr>
              <a:t>create best practices &amp; guidance documentation for cross cutting topics (ethics, regulation, clinical evaluation, data)</a:t>
            </a:r>
            <a:endParaRPr lang="en-US" dirty="0">
              <a:solidFill>
                <a:schemeClr val="accent2"/>
              </a:solidFill>
            </a:endParaRPr>
          </a:p>
          <a:p>
            <a:r>
              <a:rPr lang="en-US" dirty="0">
                <a:solidFill>
                  <a:schemeClr val="accent2"/>
                </a:solidFill>
              </a:rPr>
              <a:t>Topic Groups (TG)</a:t>
            </a:r>
          </a:p>
          <a:p>
            <a:pPr marL="285750" lvl="1" indent="-285750">
              <a:buFont typeface="Wingdings" pitchFamily="2" charset="2"/>
              <a:buChar char="§"/>
            </a:pPr>
            <a:r>
              <a:rPr lang="en-US" sz="1600" dirty="0"/>
              <a:t>apply WG-output in AI benchmarking &amp; test its use, applicability, e.g., WG-CE &amp; TG-Point-of-care</a:t>
            </a:r>
          </a:p>
          <a:p>
            <a:endParaRPr lang="en-US" dirty="0">
              <a:solidFill>
                <a:schemeClr val="accent2"/>
              </a:solidFill>
            </a:endParaRPr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8B502DCF-743B-6F8D-B5A9-A9A490336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069" y="259200"/>
            <a:ext cx="2349501" cy="4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nhaltsplatzhalter 7">
            <a:extLst>
              <a:ext uri="{FF2B5EF4-FFF2-40B4-BE49-F238E27FC236}">
                <a16:creationId xmlns:a16="http://schemas.microsoft.com/office/drawing/2014/main" id="{483DD0BB-4940-8EF8-2AA9-EC0C5D9B865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00700" y="1160219"/>
            <a:ext cx="5410835" cy="4662016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500DADB-0B88-39B8-CC8D-F1FE60026A17}"/>
              </a:ext>
            </a:extLst>
          </p:cNvPr>
          <p:cNvSpPr txBox="1"/>
          <p:nvPr/>
        </p:nvSpPr>
        <p:spPr>
          <a:xfrm>
            <a:off x="10535847" y="5622180"/>
            <a:ext cx="23534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Frutiger LT Com 45 Light"/>
                <a:ea typeface="+mn-ea"/>
                <a:cs typeface="Arial" panose="020B0604020202020204" pitchFamily="34" charset="0"/>
              </a:rPr>
              <a:t>WG = Working Group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Frutiger LT Com 45 Light"/>
                <a:ea typeface="+mn-ea"/>
                <a:cs typeface="Arial" panose="020B0604020202020204" pitchFamily="34" charset="0"/>
              </a:rPr>
              <a:t>TG   = Topic Groups</a:t>
            </a:r>
          </a:p>
        </p:txBody>
      </p:sp>
    </p:spTree>
    <p:extLst>
      <p:ext uri="{BB962C8B-B14F-4D97-AF65-F5344CB8AC3E}">
        <p14:creationId xmlns:p14="http://schemas.microsoft.com/office/powerpoint/2010/main" val="23346253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pPr lvl="0"/>
            <a:r>
              <a:rPr lang="de-DE" dirty="0"/>
              <a:t>More topic group activities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6BC8F31-A681-46B9-8DB4-0776C0D98F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>
                <a:cs typeface="Arial" panose="020B0604020202020204" pitchFamily="34" charset="0"/>
              </a:rPr>
              <a:t>Open Code initiative &amp; AI audits </a:t>
            </a:r>
            <a:endParaRPr lang="en-US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EADCF5-46AF-4D67-973F-361C8A6B44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0854" y="4816397"/>
            <a:ext cx="10470291" cy="1314758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Topic groups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</a:rPr>
              <a:t>Ophthalmology – Malaria – Symptoms – Psychiatry –  Radiology – Neurology – Outbreaks – Dental – Falls …</a:t>
            </a:r>
          </a:p>
          <a:p>
            <a:endParaRPr lang="en-US" dirty="0">
              <a:solidFill>
                <a:schemeClr val="accent2"/>
              </a:solidFill>
            </a:endParaRPr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8B502DCF-743B-6F8D-B5A9-A9A490336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069" y="259200"/>
            <a:ext cx="2349501" cy="4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550E1E87-6084-0AD2-272A-32EFAB194815}"/>
              </a:ext>
            </a:extLst>
          </p:cNvPr>
          <p:cNvSpPr txBox="1"/>
          <p:nvPr/>
        </p:nvSpPr>
        <p:spPr>
          <a:xfrm>
            <a:off x="6741760" y="4195073"/>
            <a:ext cx="48043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 panose="020B0604020202020204" pitchFamily="34" charset="0"/>
              </a:rPr>
              <a:t>&amp; </a:t>
            </a: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Arial" panose="020B0604020202020204" pitchFamily="34" charset="0"/>
              </a:rPr>
              <a:t>Open Code Initiative </a:t>
            </a:r>
          </a:p>
        </p:txBody>
      </p:sp>
      <p:pic>
        <p:nvPicPr>
          <p:cNvPr id="10" name="Grafik 9" descr="Ein Bild, das Diagramm enthält.&#10;&#10;Automatisch generierte Beschreibung">
            <a:extLst>
              <a:ext uri="{FF2B5EF4-FFF2-40B4-BE49-F238E27FC236}">
                <a16:creationId xmlns:a16="http://schemas.microsoft.com/office/drawing/2014/main" id="{30AAA459-B05F-987A-981F-0F3BECC9B3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56209" y="1097639"/>
            <a:ext cx="3985551" cy="3399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8078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pPr lvl="0"/>
            <a:r>
              <a:rPr lang="de-DE" dirty="0"/>
              <a:t>Topic Group presentations today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6BC8F31-A681-46B9-8DB4-0776C0D98F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/>
              <a:t>Schedule</a:t>
            </a:r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8B502DCF-743B-6F8D-B5A9-A9A490336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069" y="259200"/>
            <a:ext cx="2349501" cy="4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Grafik 5" descr="Ein Bild, das Text, Screenshot, Zahl, Dokument enthält.&#10;&#10;Automatisch generierte Beschreibung">
            <a:extLst>
              <a:ext uri="{FF2B5EF4-FFF2-40B4-BE49-F238E27FC236}">
                <a16:creationId xmlns:a16="http://schemas.microsoft.com/office/drawing/2014/main" id="{FC553DDA-1ACC-41F8-EED9-0AC680C0A02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09800" y="1254760"/>
            <a:ext cx="7772400" cy="4824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7053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969FAB3-F139-4D43-A7C4-4D804D9FD1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4142797"/>
            <a:ext cx="11233149" cy="1986698"/>
          </a:xfrm>
        </p:spPr>
        <p:txBody>
          <a:bodyPr/>
          <a:lstStyle/>
          <a:p>
            <a:r>
              <a:rPr lang="de-DE" dirty="0"/>
              <a:t>Thank you for your attention!</a:t>
            </a:r>
          </a:p>
          <a:p>
            <a:pPr lvl="1"/>
            <a:r>
              <a:rPr lang="de-DE" dirty="0"/>
              <a:t>—</a:t>
            </a:r>
          </a:p>
        </p:txBody>
      </p:sp>
      <p:pic>
        <p:nvPicPr>
          <p:cNvPr id="2" name="Picture 6">
            <a:extLst>
              <a:ext uri="{FF2B5EF4-FFF2-40B4-BE49-F238E27FC236}">
                <a16:creationId xmlns:a16="http://schemas.microsoft.com/office/drawing/2014/main" id="{241A9665-E7C3-45A5-6F88-B30D8245B8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069" y="259200"/>
            <a:ext cx="2349501" cy="4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173C7EDE-E72C-BDE6-AF2C-50BA59B9A354}"/>
              </a:ext>
            </a:extLst>
          </p:cNvPr>
          <p:cNvSpPr txBox="1"/>
          <p:nvPr/>
        </p:nvSpPr>
        <p:spPr>
          <a:xfrm>
            <a:off x="8507149" y="6129495"/>
            <a:ext cx="6410849" cy="2381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Contact: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a.weicken@hhi.fraunhofer.de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 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68982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863A2280E3F84C93CB7D95B3AE289B" ma:contentTypeVersion="2" ma:contentTypeDescription="Create a new document." ma:contentTypeScope="" ma:versionID="7e530ecd20c263b95f6042ee110165eb">
  <xsd:schema xmlns:xsd="http://www.w3.org/2001/XMLSchema" xmlns:xs="http://www.w3.org/2001/XMLSchema" xmlns:p="http://schemas.microsoft.com/office/2006/metadata/properties" xmlns:ns1="http://schemas.microsoft.com/sharepoint/v3" xmlns:ns2="1aaea1ea-72e4-4374-b05e-72e2f16fb7ae" targetNamespace="http://schemas.microsoft.com/office/2006/metadata/properties" ma:root="true" ma:fieldsID="55e75d33b50fbf3f19c1feb9a309975b" ns1:_="" ns2:_="">
    <xsd:import namespace="http://schemas.microsoft.com/sharepoint/v3"/>
    <xsd:import namespace="1aaea1ea-72e4-4374-b05e-72e2f16fb7ae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aea1ea-72e4-4374-b05e-72e2f16fb7a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B7850E76-978A-4CD0-A969-79FF9F4B3039}"/>
</file>

<file path=customXml/itemProps2.xml><?xml version="1.0" encoding="utf-8"?>
<ds:datastoreItem xmlns:ds="http://schemas.openxmlformats.org/officeDocument/2006/customXml" ds:itemID="{263EDF69-883F-4630-8D5D-47FF3AA110B2}"/>
</file>

<file path=customXml/itemProps3.xml><?xml version="1.0" encoding="utf-8"?>
<ds:datastoreItem xmlns:ds="http://schemas.openxmlformats.org/officeDocument/2006/customXml" ds:itemID="{8D757891-533E-4B08-9CC2-432445C0232A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77</TotalTime>
  <Words>289</Words>
  <Application>Microsoft Office PowerPoint</Application>
  <PresentationFormat>Widescreen</PresentationFormat>
  <Paragraphs>51</Paragraphs>
  <Slides>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等线</vt:lpstr>
      <vt:lpstr>Arial</vt:lpstr>
      <vt:lpstr>Calibri</vt:lpstr>
      <vt:lpstr>Calibri Light</vt:lpstr>
      <vt:lpstr>Frutiger LT Com 45 Light</vt:lpstr>
      <vt:lpstr>Frutiger LT Com 55 Roman</vt:lpstr>
      <vt:lpstr>Frutiger LT Com 65 Bold</vt:lpstr>
      <vt:lpstr>Wingdings</vt:lpstr>
      <vt:lpstr>Office 主题​​</vt:lpstr>
      <vt:lpstr>Fraunhofer_Master_16-9</vt:lpstr>
      <vt:lpstr>think-cell Folie</vt:lpstr>
      <vt:lpstr>PowerPoint Presentation</vt:lpstr>
      <vt:lpstr>PowerPoint Presentation</vt:lpstr>
      <vt:lpstr>24 topic groups</vt:lpstr>
      <vt:lpstr>Topic groups organization &amp; output</vt:lpstr>
      <vt:lpstr>Topic groups x working groups</vt:lpstr>
      <vt:lpstr>More topic group activities </vt:lpstr>
      <vt:lpstr>Topic Group presentations today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L10 Update: AI4H use cases: Topic Description Documents</dc:title>
  <dc:creator>Campos, Simao</dc:creator>
  <cp:lastModifiedBy>TSB (HT)</cp:lastModifiedBy>
  <cp:revision>78</cp:revision>
  <cp:lastPrinted>2019-04-04T08:49:31Z</cp:lastPrinted>
  <dcterms:created xsi:type="dcterms:W3CDTF">2019-03-31T15:53:06Z</dcterms:created>
  <dcterms:modified xsi:type="dcterms:W3CDTF">2023-07-04T07:44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863A2280E3F84C93CB7D95B3AE289B</vt:lpwstr>
  </property>
</Properties>
</file>